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1506" y="-1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83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5" y="6309320"/>
            <a:ext cx="1296143" cy="36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3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g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1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g"/><Relationship Id="rId4" Type="http://schemas.openxmlformats.org/officeDocument/2006/relationships/image" Target="../media/image1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jpg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780928"/>
            <a:ext cx="2857500" cy="165735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0" y="2780928"/>
            <a:ext cx="2857500" cy="1657350"/>
          </a:xfrm>
          <a:prstGeom prst="rect">
            <a:avLst/>
          </a:prstGeom>
        </p:spPr>
      </p:pic>
      <p:pic>
        <p:nvPicPr>
          <p:cNvPr id="12" name="Picture 4" descr="D:\Doc\Devis\mex2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2782278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Hacienda Tulum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284" y="5157192"/>
            <a:ext cx="2925366" cy="8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708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3074" name="Picture 2" descr="D:\Doc\Devis\mex7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lectionn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longue date par Jet tours pou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situatio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ivilégi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œ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ast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omai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Grand Bahia Principe, le Club Hacienda Tulum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ov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e long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ongu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sable fin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araïb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off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estatio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hôtelièr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rand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égét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uxuriante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endParaRPr sz="14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’hébergement que vous voulez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rmAutofit fontScale="65000" lnSpcReduction="20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28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ou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quip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2 x 120 cm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rtag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’un grand lit (2 m x 2 m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TV satellit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minibar (eau, soda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iè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écessa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h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café, coin-salon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de 31 m² standard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1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6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D), Junior Suites de 37 m² avec sofa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gnoi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hydromass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service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n soirée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1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oi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6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- type J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o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m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standard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ari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motionn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type I)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ximit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s sites de Tulum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oba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iche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Itza et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k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Balam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estaurati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le larg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oi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restaurants
Le Spa
L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elphinarium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e Pack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tiv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' Golf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restauration que vous aim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e restaurant « Le Tequila »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’Haciend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jour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our l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etit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éjeuner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éjeuner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rvi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sou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buffets.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4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L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restaurant principal « Yucatan » de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arti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Tulum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oir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vec des buffets 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hèm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4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8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restaurants à la cart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oposé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our l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îne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4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oi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/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mai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: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exicai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international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italie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brésilie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éditerranée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fruits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oiss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japonai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t le gourmet.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20" name="Picture 5" descr="D:\Doc\Devis\mex3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9650" y="3467100"/>
            <a:ext cx="4050000" cy="26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D:\Doc\Devis\mex4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140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Prêt de serviettes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’Hacienda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ch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s animations,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servic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tout l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omai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petit trai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avet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ircul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’hôtel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,.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Boutiques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lanchisser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salon de coiffure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8" name="Rectangle 17"/>
          <p:cNvSpPr/>
          <p:nvPr/>
        </p:nvSpPr>
        <p:spPr>
          <a:xfrm>
            <a:off x="238125" y="5187049"/>
            <a:ext cx="44386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fr-FR" sz="1400" dirty="0" smtClean="0">
                <a:solidFill>
                  <a:srgbClr val="6C6F70"/>
                </a:solidFill>
              </a:rPr>
              <a:t>Accès </a:t>
            </a:r>
            <a:r>
              <a:rPr lang="fr-FR" sz="1400" dirty="0" err="1">
                <a:solidFill>
                  <a:srgbClr val="6C6F70"/>
                </a:solidFill>
              </a:rPr>
              <a:t>Wi-fi</a:t>
            </a:r>
            <a:r>
              <a:rPr lang="fr-FR" sz="1400" dirty="0">
                <a:solidFill>
                  <a:srgbClr val="6C6F70"/>
                </a:solidFill>
              </a:rPr>
              <a:t> gratuit à la réception (1h/jour et par appareil) </a:t>
            </a:r>
          </a:p>
          <a:p>
            <a:pPr marL="285750" indent="-285750">
              <a:buFontTx/>
              <a:buChar char="-"/>
            </a:pPr>
            <a:r>
              <a:rPr lang="fr-FR" sz="1400" dirty="0" smtClean="0">
                <a:solidFill>
                  <a:srgbClr val="6C6F70"/>
                </a:solidFill>
              </a:rPr>
              <a:t>Point </a:t>
            </a:r>
            <a:r>
              <a:rPr lang="fr-FR" sz="1400" dirty="0">
                <a:solidFill>
                  <a:srgbClr val="6C6F70"/>
                </a:solidFill>
              </a:rPr>
              <a:t>Internet (30 min gratuites/jour) près de la réception « </a:t>
            </a:r>
            <a:r>
              <a:rPr lang="fr-FR" sz="1400" dirty="0" err="1">
                <a:solidFill>
                  <a:srgbClr val="6C6F70"/>
                </a:solidFill>
              </a:rPr>
              <a:t>Diamond</a:t>
            </a:r>
            <a:r>
              <a:rPr lang="fr-FR" sz="1400" dirty="0">
                <a:solidFill>
                  <a:srgbClr val="6C6F70"/>
                </a:solidFill>
              </a:rPr>
              <a:t> »</a:t>
            </a:r>
            <a:endParaRPr lang="fr-FR" sz="14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famille d'abord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’équip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u 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Mini-</a:t>
            </a:r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4 à 7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de 8 à 12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6j/7 de 9h à 17h30 et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e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propose un larg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’activi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udiqu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manuell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quapark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la piscine, mini disco… u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ari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!</a:t>
            </a:r>
            <a:r>
              <a:rPr dirty="0"/>
              <a:t/>
            </a:r>
            <a:br>
              <a:rPr dirty="0"/>
            </a:b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Le Studio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éserv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ux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ouver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6j/7 de 10h à 17h pendant l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Internet, baby-foot, shooting photos… E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xtérie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es envies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acu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football, water-polo… L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n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pa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êt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'ennuy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!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la famille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20000"/>
          </a:bodyPr>
          <a:lstStyle/>
          <a:p>
            <a:pPr marL="0" marR="0" lvl="0" indent="0" algn="l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Le club dispose de chambres pouvant accueillir jusqu’à 2 adultes et 2 enfants. Les Junior suites, plus spacieuses, offrent un plus grand confort. Les familles pourront profiter du confort de nos structures et des espaces dédiées aux enfants.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9" name="Picture 2" descr="D:\Doc\Devis\mex6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D:\Doc\Devis\mex1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9650" y="3467100"/>
            <a:ext cx="4050000" cy="269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lvl="0" algn="just" fontAlgn="base"/>
            <a:r>
              <a:rPr lang="fr-FR" sz="1100" b="1" dirty="0">
                <a:solidFill>
                  <a:srgbClr val="6C6F70"/>
                </a:solidFill>
                <a:latin typeface="Calibri"/>
              </a:rPr>
              <a:t>Sports et </a:t>
            </a:r>
            <a:r>
              <a:rPr lang="fr-FR" sz="1100" b="1" dirty="0" smtClean="0">
                <a:solidFill>
                  <a:srgbClr val="6C6F70"/>
                </a:solidFill>
                <a:latin typeface="Calibri"/>
              </a:rPr>
              <a:t>loisirs: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Profitez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de la piscine, de l'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aquapark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 ou du delphinarium pour une longue nage avec les dauphins (avec supplément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). Chaque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jour, un programme de sports et d’activités à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découvrir! Aérobic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aquagym, tennis de table, pétanque, vélo, water-polo, water volley, plongée avec masque et tuba. Une fois par semaine : initiation à la plongée sous-marine en piscine.</a:t>
            </a:r>
          </a:p>
          <a:p>
            <a:pPr lvl="0" algn="just" fontAlgn="base"/>
            <a:r>
              <a:rPr lang="fr-FR" sz="1100" b="1" dirty="0">
                <a:solidFill>
                  <a:srgbClr val="6C6F70"/>
                </a:solidFill>
                <a:latin typeface="Calibri"/>
              </a:rPr>
              <a:t>Avec participation :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centre de plongée, delphinarium, cours de tennis avec un moniteur confirmé, jet ski et parachute ascensionnel (à proximité).</a:t>
            </a:r>
          </a:p>
          <a:p>
            <a:pPr lvl="0" algn="just" fontAlgn="base"/>
            <a:r>
              <a:rPr lang="fr-FR" sz="1100" b="1">
                <a:solidFill>
                  <a:srgbClr val="6C6F70"/>
                </a:solidFill>
                <a:latin typeface="Calibri"/>
              </a:rPr>
              <a:t>Les </a:t>
            </a:r>
            <a:r>
              <a:rPr lang="fr-FR" sz="1100" b="1" smtClean="0">
                <a:solidFill>
                  <a:srgbClr val="6C6F70"/>
                </a:solidFill>
                <a:latin typeface="Calibri"/>
              </a:rPr>
              <a:t>Jet </a:t>
            </a:r>
            <a:r>
              <a:rPr lang="fr-FR" sz="1100" b="1" dirty="0" err="1">
                <a:solidFill>
                  <a:srgbClr val="6C6F70"/>
                </a:solidFill>
                <a:latin typeface="Calibri"/>
              </a:rPr>
              <a:t>Schools</a:t>
            </a:r>
            <a:r>
              <a:rPr lang="fr-FR" sz="1100" b="1" dirty="0">
                <a:solidFill>
                  <a:srgbClr val="6C6F70"/>
                </a:solidFill>
                <a:latin typeface="Calibri"/>
              </a:rPr>
              <a:t> :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vos cours collectifs de </a:t>
            </a:r>
            <a:r>
              <a:rPr lang="fr-FR" sz="1100" dirty="0" smtClean="0">
                <a:solidFill>
                  <a:srgbClr val="6C6F70"/>
                </a:solidFill>
                <a:latin typeface="Calibri"/>
              </a:rPr>
              <a:t>sport. Pour 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découvrir ou vous perfectionner au fitness (body 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sculpt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</a:t>
            </a:r>
            <a:r>
              <a:rPr lang="fr-FR" sz="1100" dirty="0" err="1">
                <a:solidFill>
                  <a:srgbClr val="6C6F70"/>
                </a:solidFill>
                <a:latin typeface="Calibri"/>
              </a:rPr>
              <a:t>abdofessiers</a:t>
            </a:r>
            <a:r>
              <a:rPr lang="fr-FR" sz="1100" dirty="0">
                <a:solidFill>
                  <a:srgbClr val="6C6F70"/>
                </a:solidFill>
                <a:latin typeface="Calibri"/>
              </a:rPr>
              <a:t>, stretching).</a:t>
            </a:r>
            <a:endParaRPr sz="1100" dirty="0">
              <a:solidFill>
                <a:srgbClr val="6C6F70"/>
              </a:solidFill>
              <a:latin typeface="Calibri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de l'animation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Au Spa, à la plage, au bord d'une des piscines ou le soir au Tulum bar, ambiance musique jazz…</a:t>
            </a:r>
            <a:r>
              <a:t/>
            </a:r>
            <a:br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Les concerts live, spectacles et cabarets, la discothèque réservée aux plus de 18 ans à l'Hacienda Dona Isabel…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11" name="Picture 4" descr="D:\Doc\Devis\mex2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933700"/>
            <a:ext cx="8715375" cy="343852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 sz="14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4" name="Picture 7" descr="D:\Doc\Devis\mex5.jpg"/>
          <p:cNvPicPr>
            <a:picLocks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375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Hacienda Tulum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Votre formule tout compris :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4638675" y="3048000"/>
            <a:ext cx="4267200" cy="3333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lvl="0" algn="just" fontAlgn="base"/>
            <a:r>
              <a:rPr lang="fr-FR" sz="1400" b="1" dirty="0">
                <a:solidFill>
                  <a:srgbClr val="6C6F70"/>
                </a:solidFill>
              </a:rPr>
              <a:t>Repas: </a:t>
            </a:r>
          </a:p>
          <a:p>
            <a:pPr lvl="0" algn="just" fontAlgn="base"/>
            <a:r>
              <a:rPr lang="fr-FR" sz="1400" dirty="0">
                <a:solidFill>
                  <a:srgbClr val="6C6F70"/>
                </a:solidFill>
              </a:rPr>
              <a:t>Petit déjeuner jusqu’à 10h30. Déjeuner au restaurant principal ou dans l’un des snacks Dîner au restaurant principal ou 4 fois par semaine dans l’un des 9 restaurants à la carte. Snacks toute la journée.</a:t>
            </a:r>
          </a:p>
          <a:p>
            <a:pPr lvl="0" algn="just" fontAlgn="base"/>
            <a:endParaRPr lang="fr-FR" sz="1400" dirty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>
                <a:solidFill>
                  <a:srgbClr val="6C6F70"/>
                </a:solidFill>
              </a:rPr>
              <a:t>Repas:</a:t>
            </a:r>
          </a:p>
          <a:p>
            <a:pPr lvl="0" algn="just" fontAlgn="base"/>
            <a:r>
              <a:rPr lang="fr-FR" sz="1400" dirty="0">
                <a:solidFill>
                  <a:srgbClr val="6C6F70"/>
                </a:solidFill>
              </a:rPr>
              <a:t>Boissons locales servies jusqu’à 23h dans les bars de l’Hacienda, du Tulum, dans ceux de la partie "Hacienda Doña Isabel" et à la discothèque jusqu’à 2h du matin</a:t>
            </a:r>
            <a:br>
              <a:rPr lang="fr-FR" sz="1400" dirty="0">
                <a:solidFill>
                  <a:srgbClr val="6C6F70"/>
                </a:solidFill>
              </a:rPr>
            </a:br>
            <a:r>
              <a:rPr lang="fr-FR" sz="1400" dirty="0">
                <a:solidFill>
                  <a:srgbClr val="6C6F70"/>
                </a:solidFill>
              </a:rPr>
              <a:t>Eau et vin local pendant les repas.</a:t>
            </a:r>
          </a:p>
          <a:p>
            <a:pPr lvl="0" algn="just" fontAlgn="base"/>
            <a:endParaRPr lang="fr-FR" sz="1400" dirty="0"/>
          </a:p>
          <a:p>
            <a:pPr lvl="0" algn="just" fontAlgn="base"/>
            <a:r>
              <a:rPr lang="fr-FR" sz="1400" b="1" dirty="0">
                <a:solidFill>
                  <a:srgbClr val="6C6F70"/>
                </a:solidFill>
              </a:rPr>
              <a:t>Sports &amp; loisirs: </a:t>
            </a:r>
            <a:r>
              <a:rPr lang="fr-FR" sz="1400" dirty="0">
                <a:solidFill>
                  <a:srgbClr val="6C6F70"/>
                </a:solidFill>
              </a:rPr>
              <a:t>large choix d’activités (voir </a:t>
            </a:r>
            <a:r>
              <a:rPr lang="fr-FR" sz="1400" dirty="0" err="1">
                <a:solidFill>
                  <a:srgbClr val="6C6F70"/>
                </a:solidFill>
              </a:rPr>
              <a:t>slide</a:t>
            </a:r>
            <a:r>
              <a:rPr lang="fr-FR" sz="1400" dirty="0">
                <a:solidFill>
                  <a:srgbClr val="6C6F70"/>
                </a:solidFill>
              </a:rPr>
              <a:t> dédiée).</a:t>
            </a:r>
          </a:p>
          <a:p>
            <a:pPr lvl="0" algn="just" fontAlgn="base"/>
            <a:endParaRPr lang="fr-FR" sz="1400" b="1" dirty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>
                <a:solidFill>
                  <a:srgbClr val="6C6F70"/>
                </a:solidFill>
              </a:rPr>
              <a:t>Accès aux clubs: </a:t>
            </a:r>
            <a:r>
              <a:rPr lang="fr-FR" sz="1400" dirty="0">
                <a:solidFill>
                  <a:srgbClr val="6C6F70"/>
                </a:solidFill>
              </a:rPr>
              <a:t>pour les enfants &amp; ados</a:t>
            </a:r>
            <a:endParaRPr lang="fr-FR" sz="1400" b="1" dirty="0">
              <a:solidFill>
                <a:srgbClr val="6C6F7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1</Words>
  <Application>Microsoft Office PowerPoint</Application>
  <PresentationFormat>Affichage à l'écran (4:3)</PresentationFormat>
  <Paragraphs>46</Paragraphs>
  <Slides>8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15</cp:revision>
  <dcterms:created xsi:type="dcterms:W3CDTF">2015-03-05T09:06:49Z</dcterms:created>
  <dcterms:modified xsi:type="dcterms:W3CDTF">2015-12-03T17:32:39Z</dcterms:modified>
  <cp:category>PowerPoint</cp:category>
</cp:coreProperties>
</file>